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7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271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8A8A8"/>
    <a:srgbClr val="CDCDCD"/>
    <a:srgbClr val="F6F6F6"/>
    <a:srgbClr val="5A5A5A"/>
    <a:srgbClr val="8D8D8D"/>
    <a:srgbClr val="C60018"/>
    <a:srgbClr val="444444"/>
    <a:srgbClr val="E5E5E5"/>
    <a:srgbClr val="BDBDBD"/>
    <a:srgbClr val="7272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271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13:08:53.469" v="6" actId="27918"/>
      <pc:docMkLst>
        <pc:docMk/>
      </pc:docMkLst>
      <pc:sldChg chg="mod">
        <pc:chgData name="Weigel Stefan (PAR-EPS)" userId="fd3b2067-2981-4ad8-bf3a-d2e1004e4fa8" providerId="ADAL" clId="{A4CFA2F4-FF8D-446B-B271-6DF568DBEADA}" dt="2026-02-12T13:08:53.469" v="6" actId="27918"/>
        <pc:sldMkLst>
          <pc:docMk/>
          <pc:sldMk cId="2001825019" sldId="407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962907529120849E-2"/>
          <c:y val="9.0509769134196866E-2"/>
          <c:w val="0.88406650614954119"/>
          <c:h val="0.6950633170483312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Personenverkehr</c:v>
                </c:pt>
              </c:strCache>
            </c:strRef>
          </c:tx>
          <c:spPr>
            <a:solidFill>
              <a:srgbClr val="CDCDCD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14269.518333333301</c:v>
                </c:pt>
                <c:pt idx="1">
                  <c:v>14278.76</c:v>
                </c:pt>
                <c:pt idx="2">
                  <c:v>14234.0841666667</c:v>
                </c:pt>
                <c:pt idx="3">
                  <c:v>13989.9183333333</c:v>
                </c:pt>
                <c:pt idx="4">
                  <c:v>14192.7133333333</c:v>
                </c:pt>
                <c:pt idx="5">
                  <c:v>14680.4273333333</c:v>
                </c:pt>
                <c:pt idx="6">
                  <c:v>15055.8178333333</c:v>
                </c:pt>
                <c:pt idx="7">
                  <c:v>15124.152</c:v>
                </c:pt>
                <c:pt idx="8">
                  <c:v>15304.7903333333</c:v>
                </c:pt>
                <c:pt idx="9">
                  <c:v>15679.432000000001</c:v>
                </c:pt>
                <c:pt idx="10">
                  <c:v>15800.85283333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32-475B-9895-C8153D632F4B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Immobilien</c:v>
                </c:pt>
              </c:strCache>
            </c:strRef>
          </c:tx>
          <c:spPr>
            <a:solidFill>
              <a:srgbClr val="A8A8A8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D$9:$D$19</c:f>
              <c:numCache>
                <c:formatCode>#,##0</c:formatCode>
                <c:ptCount val="11"/>
                <c:pt idx="0">
                  <c:v>816.73749999999995</c:v>
                </c:pt>
                <c:pt idx="1">
                  <c:v>791.30833333333305</c:v>
                </c:pt>
                <c:pt idx="2">
                  <c:v>779.07666666666705</c:v>
                </c:pt>
                <c:pt idx="3">
                  <c:v>775.75833333333298</c:v>
                </c:pt>
                <c:pt idx="4">
                  <c:v>790.16250000000002</c:v>
                </c:pt>
                <c:pt idx="5">
                  <c:v>793.05</c:v>
                </c:pt>
                <c:pt idx="6">
                  <c:v>780.30416666666702</c:v>
                </c:pt>
                <c:pt idx="7">
                  <c:v>1012.3375</c:v>
                </c:pt>
                <c:pt idx="8">
                  <c:v>1111.9875</c:v>
                </c:pt>
                <c:pt idx="9">
                  <c:v>1160.3</c:v>
                </c:pt>
                <c:pt idx="10">
                  <c:v>1170.741666666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32-475B-9895-C8153D632F4B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Güterverkehr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E$9:$E$19</c:f>
              <c:numCache>
                <c:formatCode>#,##0</c:formatCode>
                <c:ptCount val="11"/>
                <c:pt idx="0">
                  <c:v>3111.4358333333298</c:v>
                </c:pt>
                <c:pt idx="1">
                  <c:v>3075.0916666666699</c:v>
                </c:pt>
                <c:pt idx="2">
                  <c:v>3114.4974999999999</c:v>
                </c:pt>
                <c:pt idx="3">
                  <c:v>3084.3791666666698</c:v>
                </c:pt>
                <c:pt idx="4">
                  <c:v>3131.9108333333302</c:v>
                </c:pt>
                <c:pt idx="5">
                  <c:v>3225.45166666667</c:v>
                </c:pt>
                <c:pt idx="6">
                  <c:v>3222.3150000000001</c:v>
                </c:pt>
                <c:pt idx="7">
                  <c:v>3283.7908333333298</c:v>
                </c:pt>
                <c:pt idx="8">
                  <c:v>3382.0668333333301</c:v>
                </c:pt>
                <c:pt idx="9">
                  <c:v>3388.2791666666699</c:v>
                </c:pt>
                <c:pt idx="10">
                  <c:v>3235.074416666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32-475B-9895-C8153D632F4B}"/>
            </c:ext>
          </c:extLst>
        </c:ser>
        <c:ser>
          <c:idx val="3"/>
          <c:order val="3"/>
          <c:tx>
            <c:strRef>
              <c:f>data!$F$8</c:f>
              <c:strCache>
                <c:ptCount val="1"/>
                <c:pt idx="0">
                  <c:v>Infrastruktur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F$9:$F$19</c:f>
              <c:numCache>
                <c:formatCode>#,##0</c:formatCode>
                <c:ptCount val="11"/>
                <c:pt idx="0">
                  <c:v>10313.2808333333</c:v>
                </c:pt>
                <c:pt idx="1">
                  <c:v>10322.555</c:v>
                </c:pt>
                <c:pt idx="2">
                  <c:v>10077.1675</c:v>
                </c:pt>
                <c:pt idx="3">
                  <c:v>9857.0010000000002</c:v>
                </c:pt>
                <c:pt idx="4">
                  <c:v>9776.7006666666693</c:v>
                </c:pt>
                <c:pt idx="5">
                  <c:v>9978.1352499999994</c:v>
                </c:pt>
                <c:pt idx="6">
                  <c:v>9999.1679999999997</c:v>
                </c:pt>
                <c:pt idx="7">
                  <c:v>9834.6158333333296</c:v>
                </c:pt>
                <c:pt idx="8">
                  <c:v>10060.2183333333</c:v>
                </c:pt>
                <c:pt idx="9">
                  <c:v>10152.6641666667</c:v>
                </c:pt>
                <c:pt idx="10">
                  <c:v>10156.32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832-475B-9895-C8153D632F4B}"/>
            </c:ext>
          </c:extLst>
        </c:ser>
        <c:ser>
          <c:idx val="4"/>
          <c:order val="4"/>
          <c:tx>
            <c:strRef>
              <c:f>data!$G$8</c:f>
              <c:strCache>
                <c:ptCount val="1"/>
                <c:pt idx="0">
                  <c:v>Konzernbereiche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G$9:$G$19</c:f>
              <c:numCache>
                <c:formatCode>#,##0</c:formatCode>
                <c:ptCount val="11"/>
                <c:pt idx="0">
                  <c:v>4570.2008333333297</c:v>
                </c:pt>
                <c:pt idx="1">
                  <c:v>4650.9224999999997</c:v>
                </c:pt>
                <c:pt idx="2">
                  <c:v>4549.5791666666701</c:v>
                </c:pt>
                <c:pt idx="3">
                  <c:v>4601.68</c:v>
                </c:pt>
                <c:pt idx="4">
                  <c:v>4643.5958333333301</c:v>
                </c:pt>
                <c:pt idx="5">
                  <c:v>4821.2974999999997</c:v>
                </c:pt>
                <c:pt idx="6">
                  <c:v>4885.0749999999998</c:v>
                </c:pt>
                <c:pt idx="7">
                  <c:v>4972.0209999999997</c:v>
                </c:pt>
                <c:pt idx="8">
                  <c:v>5127.7668333333304</c:v>
                </c:pt>
                <c:pt idx="9">
                  <c:v>5188.6708333333299</c:v>
                </c:pt>
                <c:pt idx="10">
                  <c:v>5406.65416666666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267456"/>
        <c:axId val="164954496"/>
      </c:barChart>
      <c:lineChart>
        <c:grouping val="standard"/>
        <c:varyColors val="0"/>
        <c:ser>
          <c:idx val="5"/>
          <c:order val="5"/>
          <c:tx>
            <c:strRef>
              <c:f>data!$H$8</c:f>
              <c:strCache>
                <c:ptCount val="1"/>
                <c:pt idx="0">
                  <c:v>Frauenanteil (%)</c:v>
                </c:pt>
              </c:strCache>
            </c:strRef>
          </c:tx>
          <c:spPr>
            <a:ln>
              <a:solidFill>
                <a:schemeClr val="accent3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H$9:$H$19</c:f>
              <c:numCache>
                <c:formatCode>#,##0.0</c:formatCode>
                <c:ptCount val="11"/>
                <c:pt idx="0">
                  <c:v>16.869850128369801</c:v>
                </c:pt>
                <c:pt idx="1">
                  <c:v>16.9864016168254</c:v>
                </c:pt>
                <c:pt idx="2">
                  <c:v>17.086566956641398</c:v>
                </c:pt>
                <c:pt idx="3">
                  <c:v>17.294466952361901</c:v>
                </c:pt>
                <c:pt idx="4">
                  <c:v>17.743488314596998</c:v>
                </c:pt>
                <c:pt idx="5">
                  <c:v>18.388368529331199</c:v>
                </c:pt>
                <c:pt idx="6">
                  <c:v>18.807508997179099</c:v>
                </c:pt>
                <c:pt idx="7">
                  <c:v>19.004231973653201</c:v>
                </c:pt>
                <c:pt idx="8">
                  <c:v>19.434275579273599</c:v>
                </c:pt>
                <c:pt idx="9">
                  <c:v>19.938913781608999</c:v>
                </c:pt>
                <c:pt idx="10">
                  <c:v>20.52330789209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5049088"/>
        <c:axId val="164956032"/>
      </c:lineChart>
      <c:catAx>
        <c:axId val="137267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64954496"/>
        <c:crosses val="autoZero"/>
        <c:auto val="1"/>
        <c:lblAlgn val="ctr"/>
        <c:lblOffset val="100"/>
        <c:noMultiLvlLbl val="0"/>
      </c:catAx>
      <c:valAx>
        <c:axId val="164954496"/>
        <c:scaling>
          <c:orientation val="minMax"/>
          <c:max val="4000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37267456"/>
        <c:crosses val="autoZero"/>
        <c:crossBetween val="between"/>
        <c:majorUnit val="10000"/>
      </c:valAx>
      <c:valAx>
        <c:axId val="164956032"/>
        <c:scaling>
          <c:orientation val="minMax"/>
          <c:max val="40"/>
        </c:scaling>
        <c:delete val="0"/>
        <c:axPos val="r"/>
        <c:numFmt formatCode="#,##0" sourceLinked="0"/>
        <c:majorTickMark val="none"/>
        <c:minorTickMark val="none"/>
        <c:tickLblPos val="nextTo"/>
        <c:spPr>
          <a:ln>
            <a:noFill/>
          </a:ln>
        </c:spPr>
        <c:txPr>
          <a:bodyPr anchor="ctr" anchorCtr="1"/>
          <a:lstStyle/>
          <a:p>
            <a:pPr algn="just">
              <a:defRPr sz="1100"/>
            </a:pPr>
            <a:endParaRPr lang="de-DE"/>
          </a:p>
        </c:txPr>
        <c:crossAx val="165049088"/>
        <c:crosses val="max"/>
        <c:crossBetween val="between"/>
        <c:majorUnit val="10"/>
      </c:valAx>
      <c:catAx>
        <c:axId val="1650490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032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6.2679442962191703E-2"/>
          <c:y val="0.86376820414170452"/>
          <c:w val="0.93456562764365203"/>
          <c:h val="0.106874244744039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03362</cdr:x>
      <cdr:y>0.05752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0"/>
          <a:ext cx="309948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>
              <a:solidFill>
                <a:srgbClr val="444444"/>
              </a:solidFill>
              <a:latin typeface="+mj-lt"/>
              <a:cs typeface="Arial" pitchFamily="34" charset="0"/>
            </a:rPr>
            <a:t>FTE</a:t>
          </a:r>
        </a:p>
      </cdr:txBody>
    </cdr:sp>
  </cdr:relSizeAnchor>
  <cdr:relSizeAnchor xmlns:cdr="http://schemas.openxmlformats.org/drawingml/2006/chartDrawing">
    <cdr:from>
      <cdr:x>0.95213</cdr:x>
      <cdr:y>0</cdr:y>
    </cdr:from>
    <cdr:to>
      <cdr:x>1</cdr:x>
      <cdr:y>0.05752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778806" y="0"/>
          <a:ext cx="441394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r>
            <a:rPr lang="de-CH" sz="1100" dirty="0">
              <a:solidFill>
                <a:srgbClr val="444444"/>
              </a:solidFill>
              <a:latin typeface="+mj-lt"/>
              <a:cs typeface="Arial" pitchFamily="34" charset="0"/>
            </a:rPr>
            <a:t>% MA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79352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7D3BC8C-7961-4039-9EF6-F9847B8D1E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7D3BC8C-7961-4039-9EF6-F9847B8D1E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F927938-3630-4B34-8EB8-188D55E055D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Personalbestand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77880219"/>
              </p:ext>
            </p:extLst>
          </p:nvPr>
        </p:nvGraphicFramePr>
        <p:xfrm>
          <a:off x="1494169" y="1886296"/>
          <a:ext cx="9220200" cy="42065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41FD5CBC-8C89-4499-B28B-5EC68806F1EB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Vollzeitbeschäftigte des Konzerns SBB im Jahresmittel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3DB4B5C-8AF8-4D76-8E11-2708D9423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735602" y="5962993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</a:t>
            </a: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bb</a:t>
            </a: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ch</a:t>
            </a:r>
          </a:p>
        </p:txBody>
      </p:sp>
    </p:spTree>
    <p:extLst>
      <p:ext uri="{BB962C8B-B14F-4D97-AF65-F5344CB8AC3E}">
        <p14:creationId xmlns:p14="http://schemas.microsoft.com/office/powerpoint/2010/main" val="20018250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ndpy9QStuzu2K.2eC49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96e82a89-ba48-4728-b345-cf206dbec8f1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2f5c8543-cf23-4718-a3b8-32b0a91d511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7B3D450-F4D0-4DD6-9BED-47721595A08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0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Personalbestand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rsonalbestand.</dc:title>
  <dc:creator>Meyer Raphael (KOM-PGA-VSF)</dc:creator>
  <cp:lastModifiedBy>Weigel Stefan (PAR-EPS)</cp:lastModifiedBy>
  <cp:revision>59</cp:revision>
  <dcterms:created xsi:type="dcterms:W3CDTF">2020-09-30T11:00:09Z</dcterms:created>
  <dcterms:modified xsi:type="dcterms:W3CDTF">2026-03-03T13:20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